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7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A4AE4-F031-1C70-8EA5-662EC3335E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093370-6DD0-A9DB-0D70-BA791CDC84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093370-6DD0-A9DB-0D70-BA791CDC84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2E2891-C322-42D8-EFB3-38A0C38012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8F6370-5008-9071-35BE-0C99984283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19D326-4D7C-1A27-0A60-54F26E590058}"/>
              </a:ext>
            </a:extLst>
          </p:cNvPr>
          <p:cNvSpPr txBox="1">
            <a:spLocks/>
          </p:cNvSpPr>
          <p:nvPr/>
        </p:nvSpPr>
        <p:spPr>
          <a:xfrm>
            <a:off x="675892" y="3643798"/>
            <a:ext cx="1865817" cy="90593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18900000" scaled="1"/>
          </a:gradFill>
          <a:ln w="476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buClr>
                <a:srgbClr val="5A366D"/>
              </a:buClr>
              <a:buSzPts val="1400"/>
              <a:defRPr sz="1800" b="1">
                <a:solidFill>
                  <a:schemeClr val="bg1"/>
                </a:solidFill>
                <a:ea typeface="Arial Narrow"/>
                <a:cs typeface="Arial Narrow"/>
              </a:defRPr>
            </a:lvl1pPr>
          </a:lstStyle>
          <a:p>
            <a:pPr algn="l"/>
            <a:r>
              <a:rPr lang="en-US" sz="2000" dirty="0"/>
              <a:t>Insert Text</a:t>
            </a: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96D3B7E-995A-5FE2-12FF-A849CE035D3B}"/>
              </a:ext>
            </a:extLst>
          </p:cNvPr>
          <p:cNvSpPr>
            <a:spLocks/>
          </p:cNvSpPr>
          <p:nvPr/>
        </p:nvSpPr>
        <p:spPr bwMode="auto">
          <a:xfrm>
            <a:off x="2677602" y="3643798"/>
            <a:ext cx="9138449" cy="90593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6700" indent="-2667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Insert Text</a:t>
            </a:r>
          </a:p>
          <a:p>
            <a:pPr marL="541338" indent="-274638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</a:pPr>
            <a:r>
              <a:rPr lang="en-US" sz="1800" dirty="0"/>
              <a:t>Insert Text Insert Text Insert Text Insert Text Insert Text Insert Text Insert Text</a:t>
            </a:r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04B1922C-E668-B0D1-003D-114FB3E18666}"/>
              </a:ext>
            </a:extLst>
          </p:cNvPr>
          <p:cNvSpPr>
            <a:spLocks/>
          </p:cNvSpPr>
          <p:nvPr/>
        </p:nvSpPr>
        <p:spPr bwMode="auto">
          <a:xfrm>
            <a:off x="2677602" y="2569948"/>
            <a:ext cx="9138449" cy="90593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6700" indent="-2667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Insert Text</a:t>
            </a:r>
          </a:p>
          <a:p>
            <a:pPr marL="541338" indent="-274638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</a:pPr>
            <a:r>
              <a:rPr lang="en-US" sz="1800" dirty="0"/>
              <a:t>Insert Text Insert Text Insert Text Insert Text Insert Text Insert Text 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934E7B-329C-F64B-58FF-5A39AFBFB982}"/>
              </a:ext>
            </a:extLst>
          </p:cNvPr>
          <p:cNvSpPr txBox="1">
            <a:spLocks/>
          </p:cNvSpPr>
          <p:nvPr/>
        </p:nvSpPr>
        <p:spPr>
          <a:xfrm>
            <a:off x="675892" y="2569947"/>
            <a:ext cx="1865817" cy="90593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18900000" scaled="1"/>
          </a:gradFill>
          <a:ln w="476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buClr>
                <a:srgbClr val="5A366D"/>
              </a:buClr>
              <a:buSzPts val="1400"/>
              <a:defRPr sz="1800" b="1">
                <a:solidFill>
                  <a:schemeClr val="bg1"/>
                </a:solidFill>
                <a:ea typeface="Arial Narrow"/>
                <a:cs typeface="Arial Narrow"/>
              </a:defRPr>
            </a:lvl1pPr>
          </a:lstStyle>
          <a:p>
            <a:pPr algn="l"/>
            <a:r>
              <a:rPr lang="en-US" sz="2000" dirty="0"/>
              <a:t>Insert Text</a:t>
            </a:r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258B976F-B8A6-C9DF-CF9B-1B26D39FF362}"/>
              </a:ext>
            </a:extLst>
          </p:cNvPr>
          <p:cNvSpPr>
            <a:spLocks/>
          </p:cNvSpPr>
          <p:nvPr/>
        </p:nvSpPr>
        <p:spPr bwMode="auto">
          <a:xfrm>
            <a:off x="2677602" y="1515827"/>
            <a:ext cx="9138449" cy="90593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6700" indent="-2667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Insert Text</a:t>
            </a:r>
          </a:p>
          <a:p>
            <a:pPr marL="541338" indent="-274638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</a:pPr>
            <a:r>
              <a:rPr lang="en-US" sz="1800" dirty="0"/>
              <a:t>Insert Text Insert Text Insert Text Insert Text Insert Text Insert Text Insert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380D4E-6D63-F326-39B5-31D42BA532C8}"/>
              </a:ext>
            </a:extLst>
          </p:cNvPr>
          <p:cNvSpPr txBox="1">
            <a:spLocks/>
          </p:cNvSpPr>
          <p:nvPr/>
        </p:nvSpPr>
        <p:spPr>
          <a:xfrm>
            <a:off x="675892" y="1515827"/>
            <a:ext cx="1865817" cy="90593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18900000" scaled="1"/>
          </a:gradFill>
          <a:ln w="476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buClr>
                <a:srgbClr val="5A366D"/>
              </a:buClr>
              <a:buSzPts val="1400"/>
              <a:defRPr sz="1800" b="1">
                <a:solidFill>
                  <a:schemeClr val="bg1"/>
                </a:solidFill>
                <a:ea typeface="Arial Narrow"/>
                <a:cs typeface="Arial Narrow"/>
              </a:defRPr>
            </a:lvl1pPr>
          </a:lstStyle>
          <a:p>
            <a:pPr algn="l"/>
            <a:r>
              <a:rPr lang="en-US" sz="200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8DFEB6-2792-9D49-82AA-BF984959D33B}"/>
              </a:ext>
            </a:extLst>
          </p:cNvPr>
          <p:cNvSpPr txBox="1">
            <a:spLocks/>
          </p:cNvSpPr>
          <p:nvPr/>
        </p:nvSpPr>
        <p:spPr>
          <a:xfrm>
            <a:off x="675892" y="4768524"/>
            <a:ext cx="1865817" cy="90593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18900000" scaled="1"/>
          </a:gradFill>
          <a:ln w="476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buClr>
                <a:srgbClr val="5A366D"/>
              </a:buClr>
              <a:buSzPts val="1400"/>
              <a:defRPr sz="1800" b="1">
                <a:solidFill>
                  <a:schemeClr val="bg1"/>
                </a:solidFill>
                <a:ea typeface="Arial Narrow"/>
                <a:cs typeface="Arial Narrow"/>
              </a:defRPr>
            </a:lvl1pPr>
          </a:lstStyle>
          <a:p>
            <a:pPr algn="l"/>
            <a:r>
              <a:rPr lang="en-US" sz="2000" dirty="0"/>
              <a:t>Insert Text</a:t>
            </a:r>
          </a:p>
        </p:txBody>
      </p:sp>
      <p:sp>
        <p:nvSpPr>
          <p:cNvPr id="16" name="Freeform 7">
            <a:extLst>
              <a:ext uri="{FF2B5EF4-FFF2-40B4-BE49-F238E27FC236}">
                <a16:creationId xmlns:a16="http://schemas.microsoft.com/office/drawing/2014/main" id="{08ACC28B-5338-C28E-5698-06851725CB5C}"/>
              </a:ext>
            </a:extLst>
          </p:cNvPr>
          <p:cNvSpPr>
            <a:spLocks/>
          </p:cNvSpPr>
          <p:nvPr/>
        </p:nvSpPr>
        <p:spPr bwMode="auto">
          <a:xfrm>
            <a:off x="2677602" y="4768524"/>
            <a:ext cx="9138449" cy="90593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6700" indent="-2667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Insert Text</a:t>
            </a:r>
          </a:p>
          <a:p>
            <a:pPr marL="541338" indent="-274638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</a:pPr>
            <a:r>
              <a:rPr lang="en-US" sz="1800" dirty="0"/>
              <a:t>Insert Text Insert Text Insert Text Insert Text Insert Text Insert Text Insert Text</a:t>
            </a:r>
          </a:p>
        </p:txBody>
      </p:sp>
    </p:spTree>
    <p:extLst>
      <p:ext uri="{BB962C8B-B14F-4D97-AF65-F5344CB8AC3E}">
        <p14:creationId xmlns:p14="http://schemas.microsoft.com/office/powerpoint/2010/main" val="34947927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6</TotalTime>
  <Words>74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31</cp:revision>
  <dcterms:created xsi:type="dcterms:W3CDTF">2021-03-31T02:49:57Z</dcterms:created>
  <dcterms:modified xsi:type="dcterms:W3CDTF">2025-10-15T08:40:16Z</dcterms:modified>
  <cp:category/>
</cp:coreProperties>
</file>